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68" d="100"/>
          <a:sy n="168" d="100"/>
        </p:scale>
        <p:origin x="150" y="288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9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9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9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19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391886"/>
            <a:ext cx="979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chemeClr val="bg2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79040" y="932220"/>
            <a:ext cx="9864000" cy="453600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9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7</cp:revision>
  <cp:lastPrinted>2017-08-08T07:27:09Z</cp:lastPrinted>
  <dcterms:created xsi:type="dcterms:W3CDTF">2015-06-10T12:48:40Z</dcterms:created>
  <dcterms:modified xsi:type="dcterms:W3CDTF">2025-10-19T13:36:43Z</dcterms:modified>
</cp:coreProperties>
</file>